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3"/>
  </p:notesMasterIdLst>
  <p:handoutMasterIdLst>
    <p:handoutMasterId r:id="rId14"/>
  </p:handoutMasterIdLst>
  <p:sldIdLst>
    <p:sldId id="355" r:id="rId5"/>
    <p:sldId id="305" r:id="rId6"/>
    <p:sldId id="281" r:id="rId7"/>
    <p:sldId id="356" r:id="rId8"/>
    <p:sldId id="357" r:id="rId9"/>
    <p:sldId id="358" r:id="rId10"/>
    <p:sldId id="360" r:id="rId11"/>
    <p:sldId id="359" r:id="rId12"/>
  </p:sldIdLst>
  <p:sldSz cx="9144000" cy="6858000" type="screen4x3"/>
  <p:notesSz cx="6858000" cy="9313863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26FD4D-B843-4CD6-A950-A63FA38C65E4}" v="7" dt="2020-04-01T16:46:21.1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65" autoAdjust="0"/>
    <p:restoredTop sz="94683" autoAdjust="0"/>
  </p:normalViewPr>
  <p:slideViewPr>
    <p:cSldViewPr snapToGrid="0">
      <p:cViewPr varScale="1">
        <p:scale>
          <a:sx n="63" d="100"/>
          <a:sy n="63" d="100"/>
        </p:scale>
        <p:origin x="582" y="72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7D26FD4D-B843-4CD6-A950-A63FA38C65E4}"/>
    <pc:docChg chg="custSel addSld delSld modSld">
      <pc:chgData name="Christina Shaw" userId="14dc42a2-bfa6-4b75-b011-e3e8d16be8df" providerId="ADAL" clId="{7D26FD4D-B843-4CD6-A950-A63FA38C65E4}" dt="2020-04-01T16:46:24.459" v="17" actId="2696"/>
      <pc:docMkLst>
        <pc:docMk/>
      </pc:docMkLst>
      <pc:sldChg chg="add">
        <pc:chgData name="Christina Shaw" userId="14dc42a2-bfa6-4b75-b011-e3e8d16be8df" providerId="ADAL" clId="{7D26FD4D-B843-4CD6-A950-A63FA38C65E4}" dt="2020-04-01T16:44:26.637" v="5"/>
        <pc:sldMkLst>
          <pc:docMk/>
          <pc:sldMk cId="4161316538" sldId="281"/>
        </pc:sldMkLst>
      </pc:sldChg>
      <pc:sldChg chg="del">
        <pc:chgData name="Christina Shaw" userId="14dc42a2-bfa6-4b75-b011-e3e8d16be8df" providerId="ADAL" clId="{7D26FD4D-B843-4CD6-A950-A63FA38C65E4}" dt="2020-04-01T16:44:56.985" v="10" actId="2696"/>
        <pc:sldMkLst>
          <pc:docMk/>
          <pc:sldMk cId="1336062634" sldId="287"/>
        </pc:sldMkLst>
      </pc:sldChg>
      <pc:sldChg chg="add">
        <pc:chgData name="Christina Shaw" userId="14dc42a2-bfa6-4b75-b011-e3e8d16be8df" providerId="ADAL" clId="{7D26FD4D-B843-4CD6-A950-A63FA38C65E4}" dt="2020-04-01T16:44:17.481" v="3"/>
        <pc:sldMkLst>
          <pc:docMk/>
          <pc:sldMk cId="3095954908" sldId="305"/>
        </pc:sldMkLst>
      </pc:sldChg>
      <pc:sldChg chg="del">
        <pc:chgData name="Christina Shaw" userId="14dc42a2-bfa6-4b75-b011-e3e8d16be8df" providerId="ADAL" clId="{7D26FD4D-B843-4CD6-A950-A63FA38C65E4}" dt="2020-04-01T16:46:24.459" v="17" actId="2696"/>
        <pc:sldMkLst>
          <pc:docMk/>
          <pc:sldMk cId="661762385" sldId="316"/>
        </pc:sldMkLst>
      </pc:sldChg>
      <pc:sldChg chg="del">
        <pc:chgData name="Christina Shaw" userId="14dc42a2-bfa6-4b75-b011-e3e8d16be8df" providerId="ADAL" clId="{7D26FD4D-B843-4CD6-A950-A63FA38C65E4}" dt="2020-04-01T16:44:56.998" v="11" actId="2696"/>
        <pc:sldMkLst>
          <pc:docMk/>
          <pc:sldMk cId="308841881" sldId="344"/>
        </pc:sldMkLst>
      </pc:sldChg>
      <pc:sldChg chg="del">
        <pc:chgData name="Christina Shaw" userId="14dc42a2-bfa6-4b75-b011-e3e8d16be8df" providerId="ADAL" clId="{7D26FD4D-B843-4CD6-A950-A63FA38C65E4}" dt="2020-04-01T16:44:57.016" v="12" actId="2696"/>
        <pc:sldMkLst>
          <pc:docMk/>
          <pc:sldMk cId="3914071609" sldId="345"/>
        </pc:sldMkLst>
      </pc:sldChg>
      <pc:sldChg chg="del">
        <pc:chgData name="Christina Shaw" userId="14dc42a2-bfa6-4b75-b011-e3e8d16be8df" providerId="ADAL" clId="{7D26FD4D-B843-4CD6-A950-A63FA38C65E4}" dt="2020-04-01T16:45:38.146" v="14" actId="2696"/>
        <pc:sldMkLst>
          <pc:docMk/>
          <pc:sldMk cId="3331790994" sldId="347"/>
        </pc:sldMkLst>
      </pc:sldChg>
      <pc:sldChg chg="del">
        <pc:chgData name="Christina Shaw" userId="14dc42a2-bfa6-4b75-b011-e3e8d16be8df" providerId="ADAL" clId="{7D26FD4D-B843-4CD6-A950-A63FA38C65E4}" dt="2020-04-01T16:44:01.212" v="2" actId="2696"/>
        <pc:sldMkLst>
          <pc:docMk/>
          <pc:sldMk cId="2369788387" sldId="351"/>
        </pc:sldMkLst>
      </pc:sldChg>
      <pc:sldChg chg="del">
        <pc:chgData name="Christina Shaw" userId="14dc42a2-bfa6-4b75-b011-e3e8d16be8df" providerId="ADAL" clId="{7D26FD4D-B843-4CD6-A950-A63FA38C65E4}" dt="2020-04-01T16:44:19.996" v="4" actId="2696"/>
        <pc:sldMkLst>
          <pc:docMk/>
          <pc:sldMk cId="1517067817" sldId="352"/>
        </pc:sldMkLst>
      </pc:sldChg>
      <pc:sldChg chg="del">
        <pc:chgData name="Christina Shaw" userId="14dc42a2-bfa6-4b75-b011-e3e8d16be8df" providerId="ADAL" clId="{7D26FD4D-B843-4CD6-A950-A63FA38C65E4}" dt="2020-04-01T16:44:28.844" v="6" actId="2696"/>
        <pc:sldMkLst>
          <pc:docMk/>
          <pc:sldMk cId="3123762223" sldId="353"/>
        </pc:sldMkLst>
      </pc:sldChg>
      <pc:sldChg chg="modSp add">
        <pc:chgData name="Christina Shaw" userId="14dc42a2-bfa6-4b75-b011-e3e8d16be8df" providerId="ADAL" clId="{7D26FD4D-B843-4CD6-A950-A63FA38C65E4}" dt="2020-04-01T16:43:59.101" v="1" actId="27636"/>
        <pc:sldMkLst>
          <pc:docMk/>
          <pc:sldMk cId="818043257" sldId="355"/>
        </pc:sldMkLst>
        <pc:spChg chg="mod">
          <ac:chgData name="Christina Shaw" userId="14dc42a2-bfa6-4b75-b011-e3e8d16be8df" providerId="ADAL" clId="{7D26FD4D-B843-4CD6-A950-A63FA38C65E4}" dt="2020-04-01T16:43:59.101" v="1" actId="27636"/>
          <ac:spMkLst>
            <pc:docMk/>
            <pc:sldMk cId="818043257" sldId="355"/>
            <ac:spMk id="3" creationId="{00000000-0000-0000-0000-000000000000}"/>
          </ac:spMkLst>
        </pc:spChg>
      </pc:sldChg>
      <pc:sldChg chg="modSp add">
        <pc:chgData name="Christina Shaw" userId="14dc42a2-bfa6-4b75-b011-e3e8d16be8df" providerId="ADAL" clId="{7D26FD4D-B843-4CD6-A950-A63FA38C65E4}" dt="2020-04-01T16:44:49.189" v="8" actId="27636"/>
        <pc:sldMkLst>
          <pc:docMk/>
          <pc:sldMk cId="2693836150" sldId="356"/>
        </pc:sldMkLst>
        <pc:spChg chg="mod">
          <ac:chgData name="Christina Shaw" userId="14dc42a2-bfa6-4b75-b011-e3e8d16be8df" providerId="ADAL" clId="{7D26FD4D-B843-4CD6-A950-A63FA38C65E4}" dt="2020-04-01T16:44:49.189" v="8" actId="27636"/>
          <ac:spMkLst>
            <pc:docMk/>
            <pc:sldMk cId="2693836150" sldId="356"/>
            <ac:spMk id="3" creationId="{A99A0CA9-EE4F-4CC9-906D-CC441DD534DB}"/>
          </ac:spMkLst>
        </pc:spChg>
      </pc:sldChg>
      <pc:sldChg chg="add">
        <pc:chgData name="Christina Shaw" userId="14dc42a2-bfa6-4b75-b011-e3e8d16be8df" providerId="ADAL" clId="{7D26FD4D-B843-4CD6-A950-A63FA38C65E4}" dt="2020-04-01T16:44:49.129" v="7"/>
        <pc:sldMkLst>
          <pc:docMk/>
          <pc:sldMk cId="648406873" sldId="357"/>
        </pc:sldMkLst>
      </pc:sldChg>
      <pc:sldChg chg="modSp add">
        <pc:chgData name="Christina Shaw" userId="14dc42a2-bfa6-4b75-b011-e3e8d16be8df" providerId="ADAL" clId="{7D26FD4D-B843-4CD6-A950-A63FA38C65E4}" dt="2020-04-01T16:44:49.230" v="9" actId="27636"/>
        <pc:sldMkLst>
          <pc:docMk/>
          <pc:sldMk cId="2975853441" sldId="358"/>
        </pc:sldMkLst>
        <pc:spChg chg="mod">
          <ac:chgData name="Christina Shaw" userId="14dc42a2-bfa6-4b75-b011-e3e8d16be8df" providerId="ADAL" clId="{7D26FD4D-B843-4CD6-A950-A63FA38C65E4}" dt="2020-04-01T16:44:49.230" v="9" actId="27636"/>
          <ac:spMkLst>
            <pc:docMk/>
            <pc:sldMk cId="2975853441" sldId="358"/>
            <ac:spMk id="3" creationId="{2D7EA538-6126-46E1-AC4B-CA56E25B4654}"/>
          </ac:spMkLst>
        </pc:spChg>
      </pc:sldChg>
      <pc:sldChg chg="add">
        <pc:chgData name="Christina Shaw" userId="14dc42a2-bfa6-4b75-b011-e3e8d16be8df" providerId="ADAL" clId="{7D26FD4D-B843-4CD6-A950-A63FA38C65E4}" dt="2020-04-01T16:45:34.162" v="13"/>
        <pc:sldMkLst>
          <pc:docMk/>
          <pc:sldMk cId="1821889677" sldId="359"/>
        </pc:sldMkLst>
      </pc:sldChg>
      <pc:sldChg chg="modSp add">
        <pc:chgData name="Christina Shaw" userId="14dc42a2-bfa6-4b75-b011-e3e8d16be8df" providerId="ADAL" clId="{7D26FD4D-B843-4CD6-A950-A63FA38C65E4}" dt="2020-04-01T16:46:21.184" v="16"/>
        <pc:sldMkLst>
          <pc:docMk/>
          <pc:sldMk cId="3135689379" sldId="360"/>
        </pc:sldMkLst>
        <pc:graphicFrameChg chg="mod">
          <ac:chgData name="Christina Shaw" userId="14dc42a2-bfa6-4b75-b011-e3e8d16be8df" providerId="ADAL" clId="{7D26FD4D-B843-4CD6-A950-A63FA38C65E4}" dt="2020-04-01T16:46:21.184" v="16"/>
          <ac:graphicFrameMkLst>
            <pc:docMk/>
            <pc:sldMk cId="3135689379" sldId="360"/>
            <ac:graphicFrameMk id="6" creationId="{F626D1D3-5C32-46A4-BCA3-370B805395BA}"/>
          </ac:graphicFrameMkLst>
        </pc:graphicFrameChg>
      </pc:sldChg>
    </pc:docChg>
  </pc:docChgLst>
  <pc:docChgLst>
    <pc:chgData name="Christina Shaw" userId="14dc42a2-bfa6-4b75-b011-e3e8d16be8df" providerId="ADAL" clId="{575B6437-0B3A-4FFB-9443-86090CE151E9}"/>
    <pc:docChg chg="custSel modSld">
      <pc:chgData name="Christina Shaw" userId="14dc42a2-bfa6-4b75-b011-e3e8d16be8df" providerId="ADAL" clId="{575B6437-0B3A-4FFB-9443-86090CE151E9}" dt="2020-02-21T21:31:40.511" v="16" actId="1035"/>
      <pc:docMkLst>
        <pc:docMk/>
      </pc:docMkLst>
      <pc:sldChg chg="addSp delSp modSp">
        <pc:chgData name="Christina Shaw" userId="14dc42a2-bfa6-4b75-b011-e3e8d16be8df" providerId="ADAL" clId="{575B6437-0B3A-4FFB-9443-86090CE151E9}" dt="2020-02-21T21:31:40.511" v="16" actId="1035"/>
        <pc:sldMkLst>
          <pc:docMk/>
          <pc:sldMk cId="2369788387" sldId="351"/>
        </pc:sldMkLst>
        <pc:spChg chg="mod">
          <ac:chgData name="Christina Shaw" userId="14dc42a2-bfa6-4b75-b011-e3e8d16be8df" providerId="ADAL" clId="{575B6437-0B3A-4FFB-9443-86090CE151E9}" dt="2020-02-21T21:30:08.838" v="1" actId="255"/>
          <ac:spMkLst>
            <pc:docMk/>
            <pc:sldMk cId="2369788387" sldId="351"/>
            <ac:spMk id="2" creationId="{00000000-0000-0000-0000-000000000000}"/>
          </ac:spMkLst>
        </pc:spChg>
        <pc:spChg chg="mod">
          <ac:chgData name="Christina Shaw" userId="14dc42a2-bfa6-4b75-b011-e3e8d16be8df" providerId="ADAL" clId="{575B6437-0B3A-4FFB-9443-86090CE151E9}" dt="2020-02-21T21:31:36.936" v="13" actId="14100"/>
          <ac:spMkLst>
            <pc:docMk/>
            <pc:sldMk cId="2369788387" sldId="351"/>
            <ac:spMk id="3" creationId="{00000000-0000-0000-0000-000000000000}"/>
          </ac:spMkLst>
        </pc:spChg>
        <pc:spChg chg="mod">
          <ac:chgData name="Christina Shaw" userId="14dc42a2-bfa6-4b75-b011-e3e8d16be8df" providerId="ADAL" clId="{575B6437-0B3A-4FFB-9443-86090CE151E9}" dt="2020-02-21T21:31:24.304" v="10" actId="14100"/>
          <ac:spMkLst>
            <pc:docMk/>
            <pc:sldMk cId="2369788387" sldId="351"/>
            <ac:spMk id="4" creationId="{00000000-0000-0000-0000-000000000000}"/>
          </ac:spMkLst>
        </pc:spChg>
        <pc:picChg chg="add del mod">
          <ac:chgData name="Christina Shaw" userId="14dc42a2-bfa6-4b75-b011-e3e8d16be8df" providerId="ADAL" clId="{575B6437-0B3A-4FFB-9443-86090CE151E9}" dt="2020-02-21T21:30:56.337" v="6" actId="478"/>
          <ac:picMkLst>
            <pc:docMk/>
            <pc:sldMk cId="2369788387" sldId="351"/>
            <ac:picMk id="7" creationId="{3EBC61B0-B543-4667-BF6B-A98C9067C349}"/>
          </ac:picMkLst>
        </pc:picChg>
        <pc:picChg chg="add mod">
          <ac:chgData name="Christina Shaw" userId="14dc42a2-bfa6-4b75-b011-e3e8d16be8df" providerId="ADAL" clId="{575B6437-0B3A-4FFB-9443-86090CE151E9}" dt="2020-02-21T21:31:40.511" v="16" actId="1035"/>
          <ac:picMkLst>
            <pc:docMk/>
            <pc:sldMk cId="2369788387" sldId="351"/>
            <ac:picMk id="8" creationId="{8F9AB54E-8AE5-442B-B55F-48050D3317E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4/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215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необходимости инвестирования в иммунизацию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6436" y="4488732"/>
            <a:ext cx="6223292" cy="737121"/>
          </a:xfrm>
        </p:spPr>
        <p:txBody>
          <a:bodyPr>
            <a:normAutofit fontScale="92500" lnSpcReduction="20000"/>
          </a:bodyPr>
          <a:lstStyle/>
          <a:p>
            <a:r>
              <a:rPr lang="ru-RU" dirty="0"/>
              <a:t>Уменьшение последствий бедности посредством иммунизации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чание: данная презентация в значительной степени основывается на материалах  Европейской библиотеки ВОЗ по пропаганде иммунизации и проекта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борника фактических данных о ценност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ересмотрено 30 ноября 2019 года</a:t>
            </a:r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9AB54E-8AE5-442B-B55F-48050D3317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4272" y="4089007"/>
            <a:ext cx="1452164" cy="145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43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Назначение презентации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57842"/>
            <a:ext cx="8323006" cy="4778350"/>
          </a:xfrm>
        </p:spPr>
        <p:txBody>
          <a:bodyPr>
            <a:noAutofit/>
          </a:bodyPr>
          <a:lstStyle/>
          <a:p>
            <a:r>
              <a:rPr lang="ru-RU" sz="2100" b="1" dirty="0">
                <a:latin typeface="Sylfaen" panose="010A0502050306030303" pitchFamily="18" charset="0"/>
              </a:rPr>
              <a:t>Цель: </a:t>
            </a:r>
            <a:r>
              <a:rPr lang="ru-RU" sz="2100" dirty="0">
                <a:latin typeface="Sylfaen" panose="010A0502050306030303" pitchFamily="18" charset="0"/>
              </a:rPr>
              <a:t>обеспечить членов Учебной сети для стран переходного периода (LNCT) набором тезисов для дискуссий в поддержку увеличения (или, по крайней мере, поддержания) инвестиций в иммунизацию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Некоторые материалы намеренно повторяются, поскольку их можно использовать для разных дискуссий 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Слайды предназначены для выбора и адаптации к разным аудиториям (например, MOF, парламентариев и др.) и контекстам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b="1" dirty="0">
                <a:latin typeface="Sylfaen" panose="010A0502050306030303" pitchFamily="18" charset="0"/>
              </a:rPr>
              <a:t>Необходим Ваш вклад: </a:t>
            </a:r>
            <a:r>
              <a:rPr lang="ru-RU" sz="2100" dirty="0">
                <a:latin typeface="Sylfaen" panose="010A0502050306030303" pitchFamily="18" charset="0"/>
              </a:rPr>
              <a:t>полезно ли это? Можно ли это улучшить, чтобы быть более полезным для ваших нужд и вашей работы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954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очему иммунизация является важной инвестицией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dirty="0">
                <a:solidFill>
                  <a:prstClr val="black"/>
                </a:solidFill>
                <a:latin typeface="Sylfaen" panose="010A0502050306030303" pitchFamily="18" charset="0"/>
              </a:rPr>
              <a:t>По материалам: </a:t>
            </a:r>
            <a:r>
              <a:rPr lang="en-US" sz="900" dirty="0" err="1">
                <a:solidFill>
                  <a:prstClr val="black"/>
                </a:solidFill>
                <a:latin typeface="Sylfaen" panose="010A0502050306030303" pitchFamily="18" charset="0"/>
              </a:rPr>
              <a:t>Palu</a:t>
            </a:r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, T. (2016). </a:t>
            </a:r>
          </a:p>
          <a:p>
            <a:pPr algn="r"/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Sustainable Immunization Through Universal Health Coverage. World Bank SAGE Meeting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rPr>
                <a:t>Платформа пандемической готовности</a:t>
              </a:r>
              <a:endParaRPr lang="en-US" sz="1600" dirty="0">
                <a:solidFill>
                  <a:srgbClr val="4472C4">
                    <a:lumMod val="50000"/>
                  </a:srgbClr>
                </a:solidFill>
                <a:latin typeface="Sylfaen" panose="010A0502050306030303" pitchFamily="18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750606"/>
                <a:ext cx="191476" cy="1806879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209833" y="834926"/>
                <a:ext cx="375802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тправная точка для оказания медицинских услуг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ие здоровья, снижение смерт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233797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амая эффективная инвестиция в здравоохранени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2" y="2880491"/>
                <a:ext cx="190939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риентированное на интересы малоимущих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872639"/>
                <a:ext cx="393367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нижение будущей бремени на систему здравоохранения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66130" y="1415476"/>
                <a:ext cx="31603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Повышение производитель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278731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ные познания, уровень образования, питание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316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5ED00-8BCD-45A0-BACE-7C158B8E7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мунизация - это вмешательство в здоровье в поддержку бедных слоев населения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A0CA9-EE4F-4CC9-906D-CC441DD53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134429"/>
          </a:xfrm>
        </p:spPr>
        <p:txBody>
          <a:bodyPr>
            <a:normAutofit fontScale="85000" lnSpcReduction="10000"/>
          </a:bodyPr>
          <a:lstStyle/>
          <a:p>
            <a:r>
              <a:rPr lang="ru-RU" dirty="0"/>
              <a:t>Бедные с большей вероятностью могут заразиться инфекционными заболеваниями, предупреждаемыми вакцинацией, например, корью, и с меньшей вероятностью могут выздоравливать в случае заражения</a:t>
            </a:r>
            <a:r>
              <a:rPr lang="en-US" dirty="0"/>
              <a:t>.  </a:t>
            </a:r>
          </a:p>
          <a:p>
            <a:endParaRPr lang="en-US" dirty="0"/>
          </a:p>
          <a:p>
            <a:r>
              <a:rPr lang="ru-RU" dirty="0"/>
              <a:t>Таким образом, бедные получают наибольшую выгоду от иммунизации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ru-RU" dirty="0"/>
              <a:t>Кроме того, медицинские расходы и потеря заработной платы от заболеваний, предупреждаемых иммунизацией, приводят к тому, что многие домохозяйства оказываются в нищете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ru-RU" dirty="0"/>
              <a:t>Предотвращая эти потери, иммунизация обеспечивает своего рода защиту от финансовых рисков, особенно для бедных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ru-RU" dirty="0"/>
              <a:t>В большинстве стран иммунизация охватывает больше бедных домохозяйств, чем большинство других мер в области здравоохранения</a:t>
            </a:r>
            <a:r>
              <a:rPr lang="en-US" dirty="0"/>
              <a:t>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56F029-A66E-48B9-80C2-E94BEA177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433D8CD-AF61-4E09-96BD-9A4E4AD6E3FB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693836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9840-92B9-47B8-A704-605B590C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мунизация - это вмешательство в здоровье в поддержку бедных слоев населения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чем говорят данные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7EA538-6126-46E1-AC4B-CA56E25B4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0395"/>
            <a:ext cx="8229600" cy="3053038"/>
          </a:xfrm>
        </p:spPr>
        <p:txBody>
          <a:bodyPr>
            <a:normAutofit/>
          </a:bodyPr>
          <a:lstStyle/>
          <a:p>
            <a:r>
              <a:rPr lang="ru-RU" dirty="0"/>
              <a:t>В рамках исследования, проведенного недавно в 41 стране с низким и средним уровнем дохода</a:t>
            </a:r>
            <a:r>
              <a:rPr lang="en-US" baseline="30000" dirty="0"/>
              <a:t>1</a:t>
            </a:r>
            <a:r>
              <a:rPr lang="ru-RU" dirty="0"/>
              <a:t>, были рассмотрены последствия иммунизации с точки зрения здоровья и справедливости в период 2016-2030 годов.</a:t>
            </a:r>
            <a:r>
              <a:rPr lang="en-US" dirty="0"/>
              <a:t>  </a:t>
            </a:r>
          </a:p>
          <a:p>
            <a:endParaRPr lang="en-US" dirty="0"/>
          </a:p>
          <a:p>
            <a:r>
              <a:rPr lang="ru-RU" dirty="0"/>
              <a:t>В анализ были включены 5 из 15 стран-членов </a:t>
            </a:r>
            <a:r>
              <a:rPr lang="en-US" dirty="0" err="1"/>
              <a:t>LNCT</a:t>
            </a:r>
            <a:r>
              <a:rPr lang="ru-RU" dirty="0"/>
              <a:t>: Армения, Гана, Индонезия, Нигерия и Тимор-Лешти (включены ввиду наличия данных, полученных в ходе демографических и медицинских исследований).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78CA4-5197-4653-AB7F-A9F09DC01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054543-BFDB-448B-89E8-E4F2C92E265B}"/>
              </a:ext>
            </a:extLst>
          </p:cNvPr>
          <p:cNvSpPr txBox="1"/>
          <p:nvPr/>
        </p:nvSpPr>
        <p:spPr>
          <a:xfrm>
            <a:off x="628650" y="4985482"/>
            <a:ext cx="74872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Chang A, Riumall-Herl C, Perales N, Clark S, et al. The Equity Impact Vaccines May Have On Averting Deaths and Medical Impoverishment in Developing Countries. Health Aff (Millwood) 2018; 37(2).</a:t>
            </a:r>
          </a:p>
        </p:txBody>
      </p:sp>
    </p:spTree>
    <p:extLst>
      <p:ext uri="{BB962C8B-B14F-4D97-AF65-F5344CB8AC3E}">
        <p14:creationId xmlns:p14="http://schemas.microsoft.com/office/powerpoint/2010/main" val="648406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9840-92B9-47B8-A704-605B590C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мунизация - это вмешательство в здоровье в поддержку бедных слоев населения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чем говорят данные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7EA538-6126-46E1-AC4B-CA56E25B4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87" y="1359310"/>
            <a:ext cx="8264013" cy="4353232"/>
          </a:xfrm>
        </p:spPr>
        <p:txBody>
          <a:bodyPr>
            <a:normAutofit fontScale="92500" lnSpcReduction="10000"/>
          </a:bodyPr>
          <a:lstStyle/>
          <a:p>
            <a:r>
              <a:rPr lang="ru-RU" dirty="0"/>
              <a:t>Бедные извлекут максимальную выгоду от иммунизации как с точки зрения улучшения здоровья, так и с точки зрения экономического воздействия</a:t>
            </a:r>
            <a:endParaRPr lang="en-US" dirty="0"/>
          </a:p>
          <a:p>
            <a:pPr lvl="1"/>
            <a:r>
              <a:rPr lang="ru-RU" dirty="0"/>
              <a:t>Улучшение здоровья: 25% из 36 миллионов будущих случаев смертей, предотвращенных иммунизацией, будут приходиться на 20% беднейших слоев населения. Вакцина от кори предотвратит большинство случаев смерти (61%), за ней последуют гепатит В (18%) и ВПЧ (7%).</a:t>
            </a:r>
            <a:endParaRPr lang="en-US" dirty="0"/>
          </a:p>
          <a:p>
            <a:pPr lvl="1"/>
            <a:r>
              <a:rPr lang="ru-RU" dirty="0"/>
              <a:t>Экономическое воздействие: иммунизация предотвратит обнищание 24 миллионов человек в результате медицинских расходов. Гепатит B предотвращает наибольшее количество случаев (14 миллионов), затем корь (5 миллионов) и менингит A (3 миллиона)</a:t>
            </a:r>
            <a:r>
              <a:rPr lang="en-US" dirty="0"/>
              <a:t>. </a:t>
            </a:r>
          </a:p>
          <a:p>
            <a:pPr lvl="1"/>
            <a:endParaRPr lang="en-US" dirty="0"/>
          </a:p>
          <a:p>
            <a:r>
              <a:rPr lang="ru-RU" dirty="0"/>
              <a:t>Послание политики: иммунизация является важной мерой для улучшения справедливости и сокращения бедности </a:t>
            </a:r>
            <a:br>
              <a:rPr lang="en-US" dirty="0">
                <a:highlight>
                  <a:srgbClr val="FFFF00"/>
                </a:highlight>
              </a:rPr>
            </a:b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78CA4-5197-4653-AB7F-A9F09DC01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6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5853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0069"/>
            <a:ext cx="7691120" cy="1147762"/>
          </a:xfrm>
        </p:spPr>
        <p:txBody>
          <a:bodyPr>
            <a:noAutofit/>
          </a:bodyPr>
          <a:lstStyle/>
          <a:p>
            <a:r>
              <a:rPr lang="ru-RU" sz="2100" dirty="0">
                <a:latin typeface="Sylfaen" panose="010A0502050306030303" pitchFamily="18" charset="0"/>
              </a:rPr>
              <a:t>Использование данных для демонстрации того, что иммунизация в вашей стране дает очевидные экономические результаты (и что многое еще нужно сделать)</a:t>
            </a:r>
            <a:endParaRPr lang="en-US" sz="21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005342"/>
              </p:ext>
            </p:extLst>
          </p:nvPr>
        </p:nvGraphicFramePr>
        <p:xfrm>
          <a:off x="416665" y="1435565"/>
          <a:ext cx="8229600" cy="265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Расходы 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OOP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на здравоохранение по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квинтилю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благосостояния; охват иммунизацией по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квинтилю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благосостояния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Неимущие дети подвергаются влиянию болезней, предотвращаемых вакцинацией, в значительно большей степени, чем дети из более обеспеченных семей. Высокие издержки на здравоохранение из собственных средств и обнищание из-за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расходов на здравоохранение также больше влияют на бедные семьи. Иммунизация обеспечивает защиту от финансовых рисков за счет сокращения расходов, связанных с заболеваниями, предотвращаемыми вакцинацией.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37384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9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5689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вляется отличным источником информации о значени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r>
              <a:rPr lang="en-US" sz="2400" dirty="0">
                <a:hlinkClick r:id="rId3"/>
              </a:rPr>
              <a:t>https://immunizationevidence.org/</a:t>
            </a:r>
            <a:endParaRPr lang="en-US" sz="24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добный для пользования и регулярно обновляемый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1889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schemas.microsoft.com/office/2006/metadata/properties"/>
    <ds:schemaRef ds:uri="http://schemas.microsoft.com/office/infopath/2007/PartnerControls"/>
    <ds:schemaRef ds:uri="2af4539b-39f3-4771-ac1a-16de5a20c3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D9916DAA-7E09-43AF-845A-EADB4BDC86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52</TotalTime>
  <Words>756</Words>
  <Application>Microsoft Office PowerPoint</Application>
  <PresentationFormat>On-screen Show (4:3)</PresentationFormat>
  <Paragraphs>6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Museo Sans 300</vt:lpstr>
      <vt:lpstr>Museo Slab 300</vt:lpstr>
      <vt:lpstr>Sylfaen</vt:lpstr>
      <vt:lpstr>Times New Roman</vt:lpstr>
      <vt:lpstr>Wingdings</vt:lpstr>
      <vt:lpstr>R4D_StandardTemplate_MAC</vt:lpstr>
      <vt:lpstr>think-cell Slide</vt:lpstr>
      <vt:lpstr>Обоснование необходимости инвестирования в иммунизацию</vt:lpstr>
      <vt:lpstr>Назначение презентации</vt:lpstr>
      <vt:lpstr>Почему иммунизация является важной инвестицией?</vt:lpstr>
      <vt:lpstr>Иммунизация - это вмешательство в здоровье в поддержку бедных слоев населения</vt:lpstr>
      <vt:lpstr>Иммунизация - это вмешательство в здоровье в поддержку бедных слоев населения:  о чем говорят данные (1)</vt:lpstr>
      <vt:lpstr>Иммунизация - это вмешательство в здоровье в поддержку бедных слоев населения:  о чем говорят данные (2)</vt:lpstr>
      <vt:lpstr>Использование данных для демонстрации того, что иммунизация в вашей стране дает очевидные экономические результаты (и что многое еще нужно сделать)</vt:lpstr>
      <vt:lpstr>Проект VoICE является отличным источником информации о значении иммуниз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6</cp:revision>
  <cp:lastPrinted>2018-04-16T21:25:53Z</cp:lastPrinted>
  <dcterms:created xsi:type="dcterms:W3CDTF">2013-09-25T20:04:22Z</dcterms:created>
  <dcterms:modified xsi:type="dcterms:W3CDTF">2020-04-01T16:4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